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4"/>
  </p:notesMasterIdLst>
  <p:handoutMasterIdLst>
    <p:handoutMasterId r:id="rId35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44" r:id="rId12"/>
    <p:sldId id="321" r:id="rId13"/>
    <p:sldId id="322" r:id="rId14"/>
    <p:sldId id="345" r:id="rId15"/>
    <p:sldId id="320" r:id="rId16"/>
    <p:sldId id="323" r:id="rId17"/>
    <p:sldId id="324" r:id="rId18"/>
    <p:sldId id="325" r:id="rId19"/>
    <p:sldId id="338" r:id="rId20"/>
    <p:sldId id="326" r:id="rId21"/>
    <p:sldId id="327" r:id="rId22"/>
    <p:sldId id="328" r:id="rId23"/>
    <p:sldId id="339" r:id="rId24"/>
    <p:sldId id="329" r:id="rId25"/>
    <p:sldId id="330" r:id="rId26"/>
    <p:sldId id="331" r:id="rId27"/>
    <p:sldId id="340" r:id="rId28"/>
    <p:sldId id="332" r:id="rId29"/>
    <p:sldId id="333" r:id="rId30"/>
    <p:sldId id="334" r:id="rId31"/>
    <p:sldId id="335" r:id="rId32"/>
    <p:sldId id="336" r:id="rId33"/>
  </p:sldIdLst>
  <p:sldSz cx="9144000" cy="6858000" type="screen4x3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466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printerSettings" Target="printerSettings/printerSettings1.bin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ags" Target="tags/tag1.xml"/><Relationship Id="rId38" Type="http://schemas.openxmlformats.org/officeDocument/2006/relationships/presProps" Target="presProps.xml"/><Relationship Id="rId39" Type="http://schemas.openxmlformats.org/officeDocument/2006/relationships/viewProps" Target="viewProps.xml"/><Relationship Id="rId40" Type="http://schemas.openxmlformats.org/officeDocument/2006/relationships/theme" Target="theme/theme1.xml"/><Relationship Id="rId4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6.07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 durchgehendes Beispi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Tabelle mit Name, Version, letztes VÖ-Datum etc…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27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</a:t>
            </a:r>
            <a:r>
              <a:rPr lang="de-DE" dirty="0" smtClean="0"/>
              <a:t>zu erstellen.</a:t>
            </a:r>
            <a:endParaRPr lang="de-DE" dirty="0" smtClean="0"/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Annotation oder XM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ann 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</a:t>
            </a:r>
            <a:r>
              <a:rPr lang="de-DE" smtClean="0"/>
              <a:t>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</a:t>
            </a:r>
            <a:r>
              <a:rPr lang="de-DE" dirty="0" smtClean="0"/>
              <a:t>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</a:t>
            </a:r>
            <a:r>
              <a:rPr lang="de-DE" smtClean="0"/>
              <a:t>Objektstrukturen automatisch</a:t>
            </a:r>
            <a:endParaRPr lang="de-DE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07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1521</Words>
  <Application>Microsoft Macintosh PowerPoint</Application>
  <PresentationFormat>Bildschirmpräsentation (4:3)</PresentationFormat>
  <Paragraphs>455</Paragraphs>
  <Slides>32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4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Einführung durchgehendes Beispiel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93</cp:revision>
  <dcterms:created xsi:type="dcterms:W3CDTF">2013-03-01T11:14:45Z</dcterms:created>
  <dcterms:modified xsi:type="dcterms:W3CDTF">2014-07-27T14:14:43Z</dcterms:modified>
</cp:coreProperties>
</file>